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24"/>
  </p:notesMasterIdLst>
  <p:handoutMasterIdLst>
    <p:handoutMasterId r:id="rId25"/>
  </p:handoutMasterIdLst>
  <p:sldIdLst>
    <p:sldId id="256" r:id="rId6"/>
    <p:sldId id="693" r:id="rId7"/>
    <p:sldId id="657" r:id="rId8"/>
    <p:sldId id="714" r:id="rId9"/>
    <p:sldId id="715" r:id="rId10"/>
    <p:sldId id="716" r:id="rId11"/>
    <p:sldId id="725" r:id="rId12"/>
    <p:sldId id="712" r:id="rId13"/>
    <p:sldId id="717" r:id="rId14"/>
    <p:sldId id="718" r:id="rId15"/>
    <p:sldId id="719" r:id="rId16"/>
    <p:sldId id="720" r:id="rId17"/>
    <p:sldId id="721" r:id="rId18"/>
    <p:sldId id="710" r:id="rId19"/>
    <p:sldId id="724" r:id="rId20"/>
    <p:sldId id="723" r:id="rId21"/>
    <p:sldId id="722" r:id="rId22"/>
    <p:sldId id="711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57"/>
            <p14:sldId id="714"/>
            <p14:sldId id="715"/>
            <p14:sldId id="716"/>
            <p14:sldId id="725"/>
            <p14:sldId id="712"/>
            <p14:sldId id="717"/>
            <p14:sldId id="718"/>
            <p14:sldId id="719"/>
            <p14:sldId id="720"/>
            <p14:sldId id="721"/>
            <p14:sldId id="710"/>
            <p14:sldId id="724"/>
            <p14:sldId id="723"/>
            <p14:sldId id="722"/>
            <p14:sldId id="71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9E2F"/>
    <a:srgbClr val="039CD1"/>
    <a:srgbClr val="FF9833"/>
    <a:srgbClr val="EB9E2F"/>
    <a:srgbClr val="001440"/>
    <a:srgbClr val="000C26"/>
    <a:srgbClr val="B7616B"/>
    <a:srgbClr val="309BFF"/>
    <a:srgbClr val="E86160"/>
    <a:srgbClr val="F362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4660"/>
  </p:normalViewPr>
  <p:slideViewPr>
    <p:cSldViewPr snapToGrid="0">
      <p:cViewPr varScale="1">
        <p:scale>
          <a:sx n="69" d="100"/>
          <a:sy n="69" d="100"/>
        </p:scale>
        <p:origin x="57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0-Sep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0-Sep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41676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2473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334127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363649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468090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028535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645386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62254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699561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14850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60093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20141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83374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28089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0-Sep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0/09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0-Sep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.g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.gi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.g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Data Scien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1400A0-D359-4B75-98B9-F7E0D8A885E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21" t="41049" r="32922" b="12200"/>
          <a:stretch/>
        </p:blipFill>
        <p:spPr bwMode="auto">
          <a:xfrm>
            <a:off x="374548" y="1638935"/>
            <a:ext cx="5052858" cy="418667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A03FC27-061E-49C7-B0E9-7C7B186838B8}"/>
              </a:ext>
            </a:extLst>
          </p:cNvPr>
          <p:cNvSpPr txBox="1"/>
          <p:nvPr/>
        </p:nvSpPr>
        <p:spPr>
          <a:xfrm>
            <a:off x="6764594" y="1638935"/>
            <a:ext cx="5052858" cy="37061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ame: </a:t>
            </a: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catter plot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x position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y position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hape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lor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ize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209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03FC27-061E-49C7-B0E9-7C7B186838B8}"/>
              </a:ext>
            </a:extLst>
          </p:cNvPr>
          <p:cNvSpPr txBox="1"/>
          <p:nvPr/>
        </p:nvSpPr>
        <p:spPr>
          <a:xfrm>
            <a:off x="6764594" y="1638935"/>
            <a:ext cx="5052858" cy="19312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ame: </a:t>
            </a: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ie chart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3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lor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143D1E-33A1-4A31-BF60-30C7FBC28FC7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56" t="42264" r="40291" b="26223"/>
          <a:stretch/>
        </p:blipFill>
        <p:spPr bwMode="auto">
          <a:xfrm>
            <a:off x="609145" y="1982753"/>
            <a:ext cx="4066094" cy="357738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82924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65B382-05BF-444A-B064-EA9247EEE5E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25" t="51597" r="29647" b="12771"/>
          <a:stretch/>
        </p:blipFill>
        <p:spPr bwMode="auto">
          <a:xfrm>
            <a:off x="486143" y="1829732"/>
            <a:ext cx="4616799" cy="319853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BF520C-D40D-4410-A322-3AB9E9AE08C6}"/>
              </a:ext>
            </a:extLst>
          </p:cNvPr>
          <p:cNvSpPr txBox="1"/>
          <p:nvPr/>
        </p:nvSpPr>
        <p:spPr>
          <a:xfrm>
            <a:off x="6445045" y="2239563"/>
            <a:ext cx="4129549" cy="25160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1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ame</a:t>
            </a:r>
            <a:r>
              <a:rPr lang="en-US" sz="2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: Box and Whisker Plot</a:t>
            </a:r>
            <a:endParaRPr lang="en-US" sz="2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spcBef>
                <a:spcPts val="9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4"/>
              </a:buBlip>
            </a:pPr>
            <a:r>
              <a:rPr lang="en-US" sz="2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x axis 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spcBef>
                <a:spcPts val="9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4"/>
              </a:buBlip>
            </a:pPr>
            <a:r>
              <a:rPr lang="en-US" sz="2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y axis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035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944263-146B-4587-B3D4-536BEDFFAF8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44" t="46689" r="31410" b="6499"/>
          <a:stretch/>
        </p:blipFill>
        <p:spPr bwMode="auto">
          <a:xfrm>
            <a:off x="246574" y="1526458"/>
            <a:ext cx="5849426" cy="44023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00D5973-BF09-4007-962C-D8B941582C26}"/>
              </a:ext>
            </a:extLst>
          </p:cNvPr>
          <p:cNvSpPr txBox="1"/>
          <p:nvPr/>
        </p:nvSpPr>
        <p:spPr>
          <a:xfrm>
            <a:off x="6952175" y="1354309"/>
            <a:ext cx="5023516" cy="3603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0"/>
              </a:spcBef>
              <a:spcAft>
                <a:spcPts val="12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Name</a:t>
            </a: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: Line chart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x position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y position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hape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lor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ize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18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packag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605523-53A5-4E0B-AAEB-8C3FDDDBF435}"/>
              </a:ext>
            </a:extLst>
          </p:cNvPr>
          <p:cNvSpPr txBox="1"/>
          <p:nvPr/>
        </p:nvSpPr>
        <p:spPr>
          <a:xfrm>
            <a:off x="210939" y="1107319"/>
            <a:ext cx="11627100" cy="4156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There are many tools/packages for data visualization in Python programming. Some of them are as follows: 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b="1" u="none" strike="noStrike" dirty="0">
                <a:solidFill>
                  <a:srgbClr val="4F81BD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Matplotlib</a:t>
            </a: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 produces publication quality figures in a variety of hardcopy formats and interactive environments across platforms; you can generate plots, histograms, bar charts, line chart, scatterplots, etc. with just a few lines of code.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b="1" u="none" strike="noStrike" dirty="0">
                <a:solidFill>
                  <a:srgbClr val="4F81BD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Seaborn</a:t>
            </a: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 is a Python data visualization library based on matplotlib. It provides a high-level interface for drawing attractive and informative statistical graphics.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02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packag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605523-53A5-4E0B-AAEB-8C3FDDDBF435}"/>
              </a:ext>
            </a:extLst>
          </p:cNvPr>
          <p:cNvSpPr txBox="1"/>
          <p:nvPr/>
        </p:nvSpPr>
        <p:spPr>
          <a:xfrm>
            <a:off x="210939" y="1918479"/>
            <a:ext cx="11627100" cy="18253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b="1" strike="noStrike" dirty="0" err="1">
                <a:solidFill>
                  <a:srgbClr val="4F81BD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Plotly</a:t>
            </a: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 generates the most interactive graphs; allows saving them offline and create very rich web-based visualizations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b="1" u="none" strike="noStrike" dirty="0">
                <a:solidFill>
                  <a:srgbClr val="4F81BD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Pandas</a:t>
            </a: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 also possesses its own data visualization functionalities based on Matplotlib.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556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packag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605523-53A5-4E0B-AAEB-8C3FDDDBF435}"/>
              </a:ext>
            </a:extLst>
          </p:cNvPr>
          <p:cNvSpPr txBox="1"/>
          <p:nvPr/>
        </p:nvSpPr>
        <p:spPr>
          <a:xfrm>
            <a:off x="210939" y="1859487"/>
            <a:ext cx="11523861" cy="16970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We will consider using Seaborn and Pandas for data visualization. We will also consider using some functions in matplotlib package, since Seaborn and Pandas based their visualization on matplotlib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1599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  <a:sym typeface="Calibri"/>
              </a:rPr>
              <a:t>Summary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CA0BF1-1103-4E91-B15D-55C9D01D7A75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536" y="877027"/>
            <a:ext cx="8230928" cy="53320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633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900" y="1096795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92695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101561"/>
            <a:ext cx="12125649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Introduction to data visualizati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1477248"/>
            <a:ext cx="11593145" cy="3903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ata visualization refers to the graphical representation of data by visual elements such as charts, infographics, and maps to understand the data. There is a story behind every data, and data visualization brings them to life. It enables decision-makers, stakeholders or your readers to see data analytics presented visually, so they can grasp difficult concepts or identify new patterns. </a:t>
            </a:r>
            <a:endParaRPr lang="en-US" sz="3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at is data visualization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2326916"/>
            <a:ext cx="11593145" cy="1964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ccording to English Language adage, a picture is worth a thousand words. Our eyes are easily drawn to colours and pattern. Data visualization helps grab the readers' interest and keeps their eyes on the message of the data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at is data visualization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1954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094271" y="1177676"/>
            <a:ext cx="9798303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 importance of Data Visualization is as follows: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t is a powerful way to explore data with presentable results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t displays the summary of our data at a glance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Charts and graphs make it easier to identify patterns and trends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t helps to identify areas that need attention or improvement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y data visualization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AFF2CC-FDCE-4E1E-B8BE-C25B910A57FE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3" t="7162"/>
          <a:stretch/>
        </p:blipFill>
        <p:spPr bwMode="auto">
          <a:xfrm>
            <a:off x="0" y="2161715"/>
            <a:ext cx="1935480" cy="159067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F5FD045-F2D7-4DD2-9E60-FAC034B4DC9E}"/>
              </a:ext>
            </a:extLst>
          </p:cNvPr>
          <p:cNvSpPr txBox="1"/>
          <p:nvPr/>
        </p:nvSpPr>
        <p:spPr>
          <a:xfrm>
            <a:off x="210938" y="5347881"/>
            <a:ext cx="1168163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2800" dirty="0">
                <a:solidFill>
                  <a:srgbClr val="42424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t can be hard for the audience to grasp the true meaning of the findings without data visualization.</a:t>
            </a:r>
            <a:endParaRPr lang="en-US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68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2106822"/>
            <a:ext cx="11681635" cy="1964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esentation of data and information is not just about picking any data visualization design. Matching data to the right visualization begins by answering the following five (5) key questions: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Before you visualize your data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31586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55182" y="1628507"/>
            <a:ext cx="11681635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1. What relationship am I trying to understand between my data sets?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2. Do I want to understand the distribution of data and look for outliers?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3. Am I looking to compare multiple values or looking to analyze a single                     value over time?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4. Am I interested in analyzing trends in my data sets?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5. Is this visualization an important part of my overarching data story?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Before you visualize your data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239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F05A86-79B1-4B5C-8523-18A1BC7DC286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02" t="44186" r="30686" b="21048"/>
          <a:stretch/>
        </p:blipFill>
        <p:spPr bwMode="auto">
          <a:xfrm>
            <a:off x="210939" y="1430593"/>
            <a:ext cx="5855724" cy="36535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ACDF52E-A0C6-4062-81E0-3F6BA068F107}"/>
              </a:ext>
            </a:extLst>
          </p:cNvPr>
          <p:cNvSpPr txBox="1"/>
          <p:nvPr/>
        </p:nvSpPr>
        <p:spPr>
          <a:xfrm>
            <a:off x="7124243" y="1755058"/>
            <a:ext cx="4482736" cy="2603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ame: 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ar chart</a:t>
            </a: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86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length/count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86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ategory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86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lor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23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FD9648-8FFF-49AC-A6F4-D9A34C14DD13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02" t="43568" r="31571" b="20183"/>
          <a:stretch/>
        </p:blipFill>
        <p:spPr bwMode="auto">
          <a:xfrm>
            <a:off x="210939" y="1618421"/>
            <a:ext cx="5240274" cy="358776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C62856D-AA77-4539-A396-62CC020C8393}"/>
              </a:ext>
            </a:extLst>
          </p:cNvPr>
          <p:cNvSpPr txBox="1"/>
          <p:nvPr/>
        </p:nvSpPr>
        <p:spPr>
          <a:xfrm>
            <a:off x="6913306" y="2073262"/>
            <a:ext cx="4634681" cy="27033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ame</a:t>
            </a:r>
            <a:r>
              <a:rPr lang="en-US" sz="28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: Histogram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2905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bin limits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2905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unt/length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2905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lor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967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9</TotalTime>
  <Words>575</Words>
  <Application>Microsoft Office PowerPoint</Application>
  <PresentationFormat>Widescreen</PresentationFormat>
  <Paragraphs>69</Paragraphs>
  <Slides>1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rial</vt:lpstr>
      <vt:lpstr>Calibri</vt:lpstr>
      <vt:lpstr>Calibri Light</vt:lpstr>
      <vt:lpstr>Gotham Light</vt:lpstr>
      <vt:lpstr>Lato Light</vt:lpstr>
      <vt:lpstr>Symbol</vt:lpstr>
      <vt:lpstr>Wingdings</vt:lpstr>
      <vt:lpstr>1_Office Theme</vt:lpstr>
      <vt:lpstr>2_Office Theme</vt:lpstr>
      <vt:lpstr>think-cell Slide</vt:lpstr>
      <vt:lpstr>Introduction to Data Science</vt:lpstr>
      <vt:lpstr>Introduction to data visualiz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51</cp:revision>
  <dcterms:created xsi:type="dcterms:W3CDTF">2020-03-16T19:15:12Z</dcterms:created>
  <dcterms:modified xsi:type="dcterms:W3CDTF">2021-09-10T21:2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